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840" r:id="rId4"/>
    <p:sldMasterId id="2147483842" r:id="rId5"/>
    <p:sldMasterId id="2147483882" r:id="rId6"/>
    <p:sldMasterId id="2147483925" r:id="rId7"/>
    <p:sldMasterId id="2147483962" r:id="rId8"/>
    <p:sldMasterId id="2147484002" r:id="rId9"/>
  </p:sldMasterIdLst>
  <p:notesMasterIdLst>
    <p:notesMasterId r:id="rId14"/>
  </p:notesMasterIdLst>
  <p:handoutMasterIdLst>
    <p:handoutMasterId r:id="rId15"/>
  </p:handoutMasterIdLst>
  <p:sldIdLst>
    <p:sldId id="2147470498" r:id="rId10"/>
    <p:sldId id="2147470499" r:id="rId11"/>
    <p:sldId id="2147470497" r:id="rId12"/>
    <p:sldId id="2147470493" r:id="rId13"/>
  </p:sldIdLst>
  <p:sldSz cx="12192000" cy="6858000"/>
  <p:notesSz cx="6889750" cy="10021888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423" userDrawn="1">
          <p15:clr>
            <a:srgbClr val="A4A3A4"/>
          </p15:clr>
        </p15:guide>
        <p15:guide id="2" orient="horz" pos="3884" userDrawn="1">
          <p15:clr>
            <a:srgbClr val="A4A3A4"/>
          </p15:clr>
        </p15:guide>
        <p15:guide id="3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5" name="Author" initials="A" lastIdx="0" clrIdx="1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EBED"/>
    <a:srgbClr val="CE056A"/>
    <a:srgbClr val="FEDEEE"/>
    <a:srgbClr val="FF5800"/>
    <a:srgbClr val="FFF0E7"/>
    <a:srgbClr val="FDE7E3"/>
    <a:srgbClr val="FDF1F5"/>
    <a:srgbClr val="E1FDFF"/>
    <a:srgbClr val="F9DFE8"/>
    <a:srgbClr val="FCEE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36A8852-7493-484B-BDC4-AD31E69DC2E1}" v="392" dt="2022-08-22T08:10:02.940"/>
    <p1510:client id="{B12609CC-BBCB-43F3-A0A9-41375A059D56}" v="2289" dt="2022-08-16T04:02:59.64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0825" autoAdjust="0"/>
    <p:restoredTop sz="94660"/>
  </p:normalViewPr>
  <p:slideViewPr>
    <p:cSldViewPr snapToGrid="0">
      <p:cViewPr>
        <p:scale>
          <a:sx n="48" d="100"/>
          <a:sy n="48" d="100"/>
        </p:scale>
        <p:origin x="756" y="528"/>
      </p:cViewPr>
      <p:guideLst>
        <p:guide pos="7423"/>
        <p:guide orient="horz" pos="38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1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1437B1C-CD22-44D2-ABD1-B5B76CB58C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EA63F1-1712-4146-AD2B-D2DBE0B97E4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02597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r">
              <a:defRPr sz="1300"/>
            </a:lvl1pPr>
          </a:lstStyle>
          <a:p>
            <a:fld id="{9B67C320-D9A7-4448-92D3-F1B708B39680}" type="datetimeFigureOut">
              <a:rPr lang="en-AU" smtClean="0"/>
              <a:t>5/09/2022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BF23F0-78CA-454D-8380-871AF4ABC49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B122B1-7FD4-4F7D-8D0C-F640ABC3965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02597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r">
              <a:defRPr sz="1300"/>
            </a:lvl1pPr>
          </a:lstStyle>
          <a:p>
            <a:fld id="{AEAB284A-7447-4F37-B8AB-EA9D216DB5F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653176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2597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r">
              <a:defRPr sz="1300"/>
            </a:lvl1pPr>
          </a:lstStyle>
          <a:p>
            <a:fld id="{86708173-BFA6-4741-8ABA-B777CEB02B50}" type="datetimeFigureOut">
              <a:rPr lang="en-AU" smtClean="0"/>
              <a:t>5/09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11862" cy="33829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173" tIns="48587" rIns="97173" bIns="48587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975" y="4823033"/>
            <a:ext cx="5511800" cy="3946118"/>
          </a:xfrm>
          <a:prstGeom prst="rect">
            <a:avLst/>
          </a:prstGeom>
        </p:spPr>
        <p:txBody>
          <a:bodyPr vert="horz" lIns="97173" tIns="48587" rIns="97173" bIns="4858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2597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r">
              <a:defRPr sz="1300"/>
            </a:lvl1pPr>
          </a:lstStyle>
          <a:p>
            <a:fld id="{D7FF452E-224D-4FAB-8E95-F18F4E6C5DE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117433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196968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779899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FF452E-224D-4FAB-8E95-F18F4E6C5DEF}" type="slidenum">
              <a:rPr kumimoji="0" lang="en-AU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AU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18611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691376" y="1524000"/>
            <a:ext cx="10783229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9983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7F2C7DF-21F8-7F43-AF2B-D19C00A05E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E23A24-5E29-4F5A-B780-9568AE9A51D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3BD6436-3226-E056-BD8D-AAC9473E6B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3325" y="6250697"/>
            <a:ext cx="1494933" cy="542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6160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7BE495B-8D91-40D2-B88F-4A1B85973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84BA58F-6B00-43FF-8649-A324DD206A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2D9557-0A1C-4957-AD5F-C7766B5A24E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321225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F1777D9-15C5-4278-AD5F-EAE831BB5D8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26445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25965FF-30D6-4B26-A9FD-618888174D2C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2075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97959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>
            <a:extLst>
              <a:ext uri="{FF2B5EF4-FFF2-40B4-BE49-F238E27FC236}">
                <a16:creationId xmlns:a16="http://schemas.microsoft.com/office/drawing/2014/main" id="{09EF6935-AFD7-46C0-B8DC-F4109159682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C13DE71-BB7F-44F1-9F4C-FF2641223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B47697B-FE81-4829-9D0B-8D44222A63D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075D078-EC21-452D-A2D3-DA872C6AF75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321225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025D9FE-3B11-4D3B-961A-D066B72BE01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26445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9B8AD5B-92F7-40CB-8380-5473F043C5B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2075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69003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A74989-BEF5-42BA-A4DD-05E4DC35E65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79412" y="2214562"/>
            <a:ext cx="4073526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15866A6-5FB6-4879-B190-D941386C0FD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794250" y="2214562"/>
            <a:ext cx="7015164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3B3DBDE-DBD9-46CC-9B1B-F9883D754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88653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3AF63B48-9B81-462E-A24C-7037069CBAF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9FA043-6343-4D03-814F-5850BF226E9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40752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CD48AF5-9262-4894-95BB-043B9ECC4D65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791075" y="2214562"/>
            <a:ext cx="70164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8B85BA-F4F4-46EF-A7E1-F565ECC34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00211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ADB0E67-A0F8-4E12-9495-3388D2FEB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83396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7088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09137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0FDFCA-8C35-4BEB-8290-40897A6935A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82560" y="343563"/>
            <a:ext cx="9961200" cy="344487"/>
          </a:xfrm>
        </p:spPr>
        <p:txBody>
          <a:bodyPr/>
          <a:lstStyle>
            <a:lvl1pPr>
              <a:defRPr sz="2400">
                <a:solidFill>
                  <a:schemeClr val="accent2"/>
                </a:solidFill>
                <a:latin typeface="+mn-lt"/>
              </a:defRPr>
            </a:lvl1pPr>
            <a:lvl2pPr>
              <a:defRPr sz="2800">
                <a:latin typeface="Graphik-SemiboldItalic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A540C2-BE6F-43A7-AC94-C7ED493FD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737501"/>
            <a:ext cx="9961200" cy="681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13788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nd level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3D89FB-F4F6-4A24-8C33-915F53CD1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737501"/>
            <a:ext cx="9961200" cy="681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5CF75DE-1FDF-49B2-B4F0-B668E9A2A79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81600" y="343563"/>
            <a:ext cx="9961200" cy="344487"/>
          </a:xfrm>
        </p:spPr>
        <p:txBody>
          <a:bodyPr/>
          <a:lstStyle>
            <a:lvl1pPr>
              <a:defRPr sz="2400">
                <a:solidFill>
                  <a:schemeClr val="accent2"/>
                </a:solidFill>
                <a:latin typeface="+mn-lt"/>
              </a:defRPr>
            </a:lvl1pPr>
            <a:lvl2pPr>
              <a:defRPr sz="2800">
                <a:latin typeface="Graphik-SemiboldItalic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2AEEA080-D398-4DA3-9A79-4960CAAA766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32776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36503908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24635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63730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7" pos="597">
          <p15:clr>
            <a:srgbClr val="FBAE40"/>
          </p15:clr>
        </p15:guide>
        <p15:guide id="8" pos="7083">
          <p15:clr>
            <a:srgbClr val="FBAE40"/>
          </p15:clr>
        </p15:guide>
        <p15:guide id="9" orient="horz" pos="119">
          <p15:clr>
            <a:srgbClr val="FBAE40"/>
          </p15:clr>
        </p15:guide>
        <p15:guide id="10" orient="horz" pos="392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ECFFB5DC-2193-446F-ABD4-D037F652B15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</p:spTree>
    <p:extLst>
      <p:ext uri="{BB962C8B-B14F-4D97-AF65-F5344CB8AC3E}">
        <p14:creationId xmlns:p14="http://schemas.microsoft.com/office/powerpoint/2010/main" val="21040847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(Positiv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17647" y="2755429"/>
            <a:ext cx="8541502" cy="1042344"/>
          </a:xfrm>
        </p:spPr>
        <p:txBody>
          <a:bodyPr tIns="198000" rIns="0" anchor="ctr">
            <a:spAutoFit/>
          </a:bodyPr>
          <a:lstStyle>
            <a:lvl1pPr>
              <a:lnSpc>
                <a:spcPct val="75000"/>
              </a:lnSpc>
              <a:defRPr sz="7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26877738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27916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7" pos="597">
          <p15:clr>
            <a:srgbClr val="FBAE40"/>
          </p15:clr>
        </p15:guide>
        <p15:guide id="8" pos="7083">
          <p15:clr>
            <a:srgbClr val="FBAE40"/>
          </p15:clr>
        </p15:guide>
        <p15:guide id="9" orient="horz" pos="119">
          <p15:clr>
            <a:srgbClr val="FBAE40"/>
          </p15:clr>
        </p15:guide>
        <p15:guide id="10" orient="horz" pos="392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F75F791-0044-4427-9767-3066DA05981F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38B1EC-FA17-45DA-8517-D23A942161D3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119807B-39A9-41FD-8CD3-CD67C006211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600" y="1278000"/>
            <a:ext cx="11437371" cy="514738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1468487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EAD9AED-9987-4CE9-B39D-B256B4620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</a:t>
            </a:r>
            <a:br>
              <a:rPr lang="en-GB"/>
            </a:br>
            <a:r>
              <a:rPr lang="en-GB"/>
              <a:t>(36pt, min 30pt)</a:t>
            </a:r>
            <a:endParaRPr lang="en-US"/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47788DB3-5AE6-4EE0-BA1A-48BA65E4F69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3478" y="1168671"/>
            <a:ext cx="11437371" cy="453183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 b="1" i="0">
                <a:solidFill>
                  <a:schemeClr val="tx1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20836114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Keypoints 2.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AEC53D-33B0-473F-8FEF-D044CEC2BAF7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9B17BB-C14B-484A-99D9-8407CA6285AE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4" name="White Rectangle">
            <a:extLst>
              <a:ext uri="{FF2B5EF4-FFF2-40B4-BE49-F238E27FC236}">
                <a16:creationId xmlns:a16="http://schemas.microsoft.com/office/drawing/2014/main" id="{7F85634B-D655-45F5-B274-ED1F723718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12192000" cy="26755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963D771-3DAE-41D9-951D-8B5213B39D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781" y="637200"/>
            <a:ext cx="5557322" cy="1061438"/>
          </a:xfrm>
        </p:spPr>
        <p:txBody>
          <a:bodyPr/>
          <a:lstStyle>
            <a:lvl1pPr>
              <a:defRPr sz="4400">
                <a:latin typeface="Graphik Semibold" panose="020B0703030202060203" pitchFamily="34" charset="0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DDCE2E31-D391-493B-B358-C32EC9B2584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600" y="1718824"/>
            <a:ext cx="5524500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09BFCDC0-631D-46D2-B500-99178E8EC2A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84912" y="-1"/>
            <a:ext cx="5907087" cy="6045201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3A9521C-1018-4C92-B2C0-6F99BF3459D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70456" y="3659421"/>
            <a:ext cx="2583882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55303EE-8D35-46EB-BCBD-89ABAC587C7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22636" y="3659421"/>
            <a:ext cx="2578227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067422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4519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eetings + Greater Than 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mputer on a table&#10;&#10;Description automatically generated with medium confidence">
            <a:extLst>
              <a:ext uri="{FF2B5EF4-FFF2-40B4-BE49-F238E27FC236}">
                <a16:creationId xmlns:a16="http://schemas.microsoft.com/office/drawing/2014/main" id="{5212DC28-081C-4B53-B7E5-95A76845C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966970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4FCB89E2-640C-4EE7-A7AE-2537E6D6CD37}"/>
              </a:ext>
            </a:extLst>
          </p:cNvPr>
          <p:cNvSpPr/>
          <p:nvPr userDrawn="1"/>
        </p:nvSpPr>
        <p:spPr>
          <a:xfrm flipH="1">
            <a:off x="0" y="0"/>
            <a:ext cx="7991061" cy="6858000"/>
          </a:xfrm>
          <a:prstGeom prst="rect">
            <a:avLst/>
          </a:prstGeom>
          <a:gradFill flip="none" rotWithShape="1">
            <a:gsLst>
              <a:gs pos="16000">
                <a:srgbClr val="7500C0">
                  <a:lumMod val="65000"/>
                  <a:alpha val="6000"/>
                </a:srgbClr>
              </a:gs>
              <a:gs pos="64000">
                <a:srgbClr val="460073">
                  <a:lumMod val="65000"/>
                  <a:alpha val="5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0D764ED-7FE8-4502-8389-7775F6BD9C37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50000"/>
                  <a:alpha val="32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1F886BB-4FFC-41F3-A51D-113007CF74B3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C32D3-DB02-4F1F-A282-561B7CCF2E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996" y="4429617"/>
            <a:ext cx="4494212" cy="246221"/>
          </a:xfrm>
          <a:prstGeom prst="rect">
            <a:avLst/>
          </a:prstGeom>
        </p:spPr>
        <p:txBody>
          <a:bodyPr tIns="0" bIns="0">
            <a:spAutoFit/>
          </a:bodyPr>
          <a:lstStyle>
            <a:lvl1pPr>
              <a:defRPr sz="1600" b="0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D025077-95DC-49A7-9B5F-D58671B13B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47" y="3368774"/>
            <a:ext cx="4970545" cy="54133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CD2CC8A-C5DC-4215-AC36-15FD01976D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3295" y="2286658"/>
            <a:ext cx="4970545" cy="97872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3600" b="1" i="0" cap="none">
                <a:solidFill>
                  <a:schemeClr val="tx1"/>
                </a:solidFill>
                <a:latin typeface="Graphik Black" panose="020B0503030202060203" pitchFamily="34" charset="77"/>
              </a:defRPr>
            </a:lvl1pPr>
          </a:lstStyle>
          <a:p>
            <a:pPr lvl="0"/>
            <a:r>
              <a:rPr lang="en-US"/>
              <a:t>Presentation title goes he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3C8C200-F2F1-4537-8031-DACAE9F5708F}"/>
              </a:ext>
            </a:extLst>
          </p:cNvPr>
          <p:cNvGrpSpPr/>
          <p:nvPr userDrawn="1"/>
        </p:nvGrpSpPr>
        <p:grpSpPr>
          <a:xfrm>
            <a:off x="385491" y="451210"/>
            <a:ext cx="4851142" cy="671218"/>
            <a:chOff x="385491" y="6038005"/>
            <a:chExt cx="2897417" cy="400895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D47088F6-0520-427B-B0F2-5AAB654DA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834798" y="6074781"/>
              <a:ext cx="1448110" cy="364119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52373D85-8B9E-4F77-937B-7F622C24C2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85491" y="6038005"/>
              <a:ext cx="1241875" cy="3257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03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69771"/>
          </a:xfr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8BBEE1C-072C-4BA5-B5C9-04DA2C242B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895" y="804060"/>
            <a:ext cx="11430000" cy="552542"/>
          </a:xfrm>
          <a:prstGeom prst="rect">
            <a:avLst/>
          </a:prstGeom>
        </p:spPr>
        <p:txBody>
          <a:bodyPr lIns="0" anchor="t"/>
          <a:lstStyle>
            <a:lvl1pPr>
              <a:defRPr sz="16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536010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218648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/>
          <p:cNvSpPr/>
          <p:nvPr userDrawn="1"/>
        </p:nvSpPr>
        <p:spPr>
          <a:xfrm>
            <a:off x="12218648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12215747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12215747" y="2883470"/>
            <a:ext cx="155791" cy="527538"/>
          </a:xfrm>
          <a:prstGeom prst="rect">
            <a:avLst/>
          </a:prstGeom>
          <a:solidFill>
            <a:srgbClr val="4B91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/>
          <p:cNvSpPr/>
          <p:nvPr userDrawn="1"/>
        </p:nvSpPr>
        <p:spPr>
          <a:xfrm>
            <a:off x="12215747" y="3460164"/>
            <a:ext cx="155791" cy="527538"/>
          </a:xfrm>
          <a:prstGeom prst="rect">
            <a:avLst/>
          </a:prstGeom>
          <a:solidFill>
            <a:srgbClr val="008C9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12215747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 userDrawn="1"/>
        </p:nvSpPr>
        <p:spPr>
          <a:xfrm>
            <a:off x="12215747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>
            <a:off x="12382950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12382950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12380049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>
            <a:off x="12380049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12380049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12380049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12380049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12218648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12382950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06168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7C10AFE-A1A0-400E-B25F-A15F6675A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6" y="1828879"/>
            <a:ext cx="5544000" cy="4225688"/>
          </a:xfrm>
        </p:spPr>
        <p:txBody>
          <a:bodyPr>
            <a:noAutofit/>
          </a:bodyPr>
          <a:lstStyle>
            <a:lvl1pPr>
              <a:defRPr sz="5400"/>
            </a:lvl1pPr>
          </a:lstStyle>
          <a:p>
            <a:r>
              <a:rPr lang="en-US"/>
              <a:t>Section introduction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BBA1B5-C077-429B-B8B5-3E4D80450C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828800"/>
            <a:ext cx="5544000" cy="4225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158350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724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691376" y="1132114"/>
            <a:ext cx="10783229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1pPr>
            <a:lvl2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2pPr>
            <a:lvl3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3pPr>
            <a:lvl4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4pPr>
            <a:lvl5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5145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1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USETH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5A9A54C-F7AC-FB49-AB30-4D18871E4C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22F011-1B5D-4908-8620-D3407CB489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985438-9978-43CA-8E43-12994E9F65B8}"/>
              </a:ext>
            </a:extLst>
          </p:cNvPr>
          <p:cNvSpPr/>
          <p:nvPr userDrawn="1"/>
        </p:nvSpPr>
        <p:spPr>
          <a:xfrm>
            <a:off x="694944" y="2"/>
            <a:ext cx="10789920" cy="45719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FFD700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74495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dentials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59B6915F-1823-4615-958F-D8D196ED86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94249" y="0"/>
            <a:ext cx="739775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975BB0-510C-4403-944C-3F8C375494EE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8" name="Company name">
            <a:extLst>
              <a:ext uri="{FF2B5EF4-FFF2-40B4-BE49-F238E27FC236}">
                <a16:creationId xmlns:a16="http://schemas.microsoft.com/office/drawing/2014/main" id="{985A2BE9-49A3-4D91-9A7D-F27A002C7A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4361" y="355824"/>
            <a:ext cx="4078578" cy="276999"/>
          </a:xfrm>
          <a:prstGeom prst="rect">
            <a:avLst/>
          </a:prstGeom>
        </p:spPr>
        <p:txBody>
          <a:bodyPr wrap="square" tIns="0" anchor="b" anchorCtr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 b="1" i="0" cap="none" baseline="0">
                <a:solidFill>
                  <a:schemeClr val="accent2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Company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3AC8A6-E8FF-4022-890E-5FB65EA4DC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360" y="746644"/>
            <a:ext cx="4078578" cy="1231913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66540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E9673F3F-F729-4631-BED7-FED0ADE758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169" y="6588493"/>
            <a:ext cx="438831" cy="26950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 b="0" i="0">
                <a:solidFill>
                  <a:schemeClr val="tx1"/>
                </a:solidFill>
                <a:latin typeface="Graphik" panose="020B0503030202060203" pitchFamily="34" charset="77"/>
                <a:cs typeface="Segoe UI Semibold" panose="020B0702040204020203" pitchFamily="34" charset="0"/>
              </a:defRPr>
            </a:lvl1pPr>
          </a:lstStyle>
          <a:p>
            <a:fld id="{0EE23A24-5E29-4F5A-B780-9568AE9A51DD}" type="slidenum">
              <a:rPr lang="en-PL" smtClean="0"/>
              <a:pPr/>
              <a:t>‹#›</a:t>
            </a:fld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33171032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45019" y="332077"/>
            <a:ext cx="11491382" cy="34471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800" spc="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0348E6-5543-453A-986B-9CF9B8A278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019" y="714365"/>
            <a:ext cx="11491382" cy="425708"/>
          </a:xfrm>
          <a:prstGeom prst="rect">
            <a:avLst/>
          </a:prstGeom>
        </p:spPr>
        <p:txBody>
          <a:bodyPr lIns="0" tIns="0" rIns="0" bIns="0"/>
          <a:lstStyle>
            <a:lvl1pPr algn="l" defTabSz="17346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i="0" kern="1200" cap="none" spc="0" baseline="0" dirty="0">
                <a:solidFill>
                  <a:schemeClr val="accent1"/>
                </a:solidFill>
                <a:latin typeface="Graphik Black" panose="020B0A03030202060203" pitchFamily="34" charset="0"/>
                <a:ea typeface="Graphik Black" panose="020B0A03030202060203" pitchFamily="34" charset="0"/>
                <a:cs typeface="Graphik Black" panose="020B0A03030202060203" pitchFamily="34" charset="0"/>
              </a:defRPr>
            </a:lvl1pPr>
          </a:lstStyle>
          <a:p>
            <a:pPr lvl="0"/>
            <a:r>
              <a:rPr lang="en-US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6986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rora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9817" y="1524000"/>
            <a:ext cx="5181600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3817" y="1524000"/>
            <a:ext cx="4936414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0231" y="6356350"/>
            <a:ext cx="496632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43548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eetings + Greater Than 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mputer on a table&#10;&#10;Description automatically generated with medium confidence">
            <a:extLst>
              <a:ext uri="{FF2B5EF4-FFF2-40B4-BE49-F238E27FC236}">
                <a16:creationId xmlns:a16="http://schemas.microsoft.com/office/drawing/2014/main" id="{5212DC28-081C-4B53-B7E5-95A76845C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966970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4FCB89E2-640C-4EE7-A7AE-2537E6D6CD37}"/>
              </a:ext>
            </a:extLst>
          </p:cNvPr>
          <p:cNvSpPr/>
          <p:nvPr userDrawn="1"/>
        </p:nvSpPr>
        <p:spPr>
          <a:xfrm flipH="1">
            <a:off x="0" y="0"/>
            <a:ext cx="7991061" cy="6858000"/>
          </a:xfrm>
          <a:prstGeom prst="rect">
            <a:avLst/>
          </a:prstGeom>
          <a:gradFill flip="none" rotWithShape="1">
            <a:gsLst>
              <a:gs pos="16000">
                <a:srgbClr val="7500C0">
                  <a:lumMod val="65000"/>
                  <a:alpha val="6000"/>
                </a:srgbClr>
              </a:gs>
              <a:gs pos="64000">
                <a:srgbClr val="460073">
                  <a:lumMod val="65000"/>
                  <a:alpha val="5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0D764ED-7FE8-4502-8389-7775F6BD9C37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50000"/>
                  <a:alpha val="32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1F886BB-4FFC-41F3-A51D-113007CF74B3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C32D3-DB02-4F1F-A282-561B7CCF2E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996" y="4429617"/>
            <a:ext cx="4494212" cy="246221"/>
          </a:xfrm>
          <a:prstGeom prst="rect">
            <a:avLst/>
          </a:prstGeom>
        </p:spPr>
        <p:txBody>
          <a:bodyPr tIns="0" bIns="0">
            <a:spAutoFit/>
          </a:bodyPr>
          <a:lstStyle>
            <a:lvl1pPr>
              <a:defRPr sz="1600" b="0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D025077-95DC-49A7-9B5F-D58671B13B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47" y="3368774"/>
            <a:ext cx="4970545" cy="54133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CD2CC8A-C5DC-4215-AC36-15FD01976D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3295" y="2286658"/>
            <a:ext cx="4970545" cy="97872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3600" b="1" i="0" cap="none">
                <a:solidFill>
                  <a:schemeClr val="tx1"/>
                </a:solidFill>
                <a:latin typeface="Graphik Black" panose="020B0503030202060203" pitchFamily="34" charset="77"/>
              </a:defRPr>
            </a:lvl1pPr>
          </a:lstStyle>
          <a:p>
            <a:pPr lvl="0"/>
            <a:r>
              <a:rPr lang="en-US"/>
              <a:t>Presentation title goes he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3C8C200-F2F1-4537-8031-DACAE9F5708F}"/>
              </a:ext>
            </a:extLst>
          </p:cNvPr>
          <p:cNvGrpSpPr/>
          <p:nvPr userDrawn="1"/>
        </p:nvGrpSpPr>
        <p:grpSpPr>
          <a:xfrm>
            <a:off x="385491" y="451210"/>
            <a:ext cx="4851142" cy="671218"/>
            <a:chOff x="385491" y="6038005"/>
            <a:chExt cx="2897417" cy="400895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D47088F6-0520-427B-B0F2-5AAB654DA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834798" y="6074781"/>
              <a:ext cx="1448110" cy="364119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52373D85-8B9E-4F77-937B-7F622C24C2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85491" y="6038005"/>
              <a:ext cx="1241875" cy="3257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47033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69771"/>
          </a:xfr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8BBEE1C-072C-4BA5-B5C9-04DA2C242B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895" y="804060"/>
            <a:ext cx="11430000" cy="552542"/>
          </a:xfrm>
          <a:prstGeom prst="rect">
            <a:avLst/>
          </a:prstGeom>
        </p:spPr>
        <p:txBody>
          <a:bodyPr lIns="0" anchor="t"/>
          <a:lstStyle>
            <a:lvl1pPr>
              <a:defRPr sz="16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086113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 gray wa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FE86BDB-6CCC-4164-BBE6-A5A72F629C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09FCC80-4980-4346-8053-B3E63CB1B972}"/>
              </a:ext>
            </a:extLst>
          </p:cNvPr>
          <p:cNvSpPr/>
          <p:nvPr userDrawn="1"/>
        </p:nvSpPr>
        <p:spPr>
          <a:xfrm flipH="1">
            <a:off x="-6" y="0"/>
            <a:ext cx="12192001" cy="6858000"/>
          </a:xfrm>
          <a:prstGeom prst="rect">
            <a:avLst/>
          </a:prstGeom>
          <a:gradFill flip="none" rotWithShape="1">
            <a:gsLst>
              <a:gs pos="0">
                <a:srgbClr val="7500C0">
                  <a:lumMod val="65000"/>
                  <a:alpha val="37000"/>
                </a:srgbClr>
              </a:gs>
              <a:gs pos="91000">
                <a:srgbClr val="460073">
                  <a:lumMod val="65000"/>
                  <a:alpha val="94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178D1DDA-5C3B-C442-A8B8-A1A521B671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945" y="822960"/>
            <a:ext cx="6421462" cy="1421928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>
              <a:defRPr lang="en-US" sz="5400" b="1" dirty="0">
                <a:solidFill>
                  <a:schemeClr val="bg1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F22D306-4E3B-4B05-B44F-56C9326D35F0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</a:rPr>
              <a:t>Copyright © 2022 Accenture/Avanade. All rights reserved.</a:t>
            </a:r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F646CDF-8270-49A9-B3C7-C28EC31D44AE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/>
                </a:solidFill>
              </a:rPr>
              <a:t>‹#›</a:t>
            </a:fld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7" name="Slide Number Placeholder 6">
            <a:extLst>
              <a:ext uri="{FF2B5EF4-FFF2-40B4-BE49-F238E27FC236}">
                <a16:creationId xmlns:a16="http://schemas.microsoft.com/office/drawing/2014/main" id="{8F2438DC-7642-42E3-851B-DD748E3988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bg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pic>
        <p:nvPicPr>
          <p:cNvPr id="10" name="Acc_CoreBrand_Logo_Black_Purple">
            <a:extLst>
              <a:ext uri="{FF2B5EF4-FFF2-40B4-BE49-F238E27FC236}">
                <a16:creationId xmlns:a16="http://schemas.microsoft.com/office/drawing/2014/main" id="{768327AF-302A-AF45-92E5-6720AD2FA7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81000" y="6485377"/>
            <a:ext cx="788581" cy="2068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D5C4743-BEEA-BB41-BC91-7E497CD542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177200" y="6417572"/>
            <a:ext cx="1085939" cy="399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1654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CF415F-3689-45B9-9B4F-EC0507DDDA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413" y="2214563"/>
            <a:ext cx="9958387" cy="38417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6F93B3A-1669-41E7-9EBD-EB1A7B476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21046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218648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/>
          <p:cNvSpPr/>
          <p:nvPr userDrawn="1"/>
        </p:nvSpPr>
        <p:spPr>
          <a:xfrm>
            <a:off x="12218648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12215747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12215747" y="2883470"/>
            <a:ext cx="155791" cy="527538"/>
          </a:xfrm>
          <a:prstGeom prst="rect">
            <a:avLst/>
          </a:prstGeom>
          <a:solidFill>
            <a:srgbClr val="4B91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/>
          <p:cNvSpPr/>
          <p:nvPr userDrawn="1"/>
        </p:nvSpPr>
        <p:spPr>
          <a:xfrm>
            <a:off x="12215747" y="3460164"/>
            <a:ext cx="155791" cy="527538"/>
          </a:xfrm>
          <a:prstGeom prst="rect">
            <a:avLst/>
          </a:prstGeom>
          <a:solidFill>
            <a:srgbClr val="008C9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12215747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 userDrawn="1"/>
        </p:nvSpPr>
        <p:spPr>
          <a:xfrm>
            <a:off x="12215747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>
            <a:off x="12382950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12382950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12380049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>
            <a:off x="12380049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12380049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12380049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12380049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12218648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12382950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70043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280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691376" y="1132114"/>
            <a:ext cx="10783229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1pPr>
            <a:lvl2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2pPr>
            <a:lvl3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3pPr>
            <a:lvl4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4pPr>
            <a:lvl5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61454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1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USETH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5A9A54C-F7AC-FB49-AB30-4D18871E4C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22F011-1B5D-4908-8620-D3407CB489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985438-9978-43CA-8E43-12994E9F65B8}"/>
              </a:ext>
            </a:extLst>
          </p:cNvPr>
          <p:cNvSpPr/>
          <p:nvPr userDrawn="1"/>
        </p:nvSpPr>
        <p:spPr>
          <a:xfrm>
            <a:off x="694944" y="2"/>
            <a:ext cx="10789920" cy="45719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FFD700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0933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dentials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59B6915F-1823-4615-958F-D8D196ED86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94249" y="0"/>
            <a:ext cx="739775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975BB0-510C-4403-944C-3F8C375494EE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8" name="Company name">
            <a:extLst>
              <a:ext uri="{FF2B5EF4-FFF2-40B4-BE49-F238E27FC236}">
                <a16:creationId xmlns:a16="http://schemas.microsoft.com/office/drawing/2014/main" id="{985A2BE9-49A3-4D91-9A7D-F27A002C7A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4361" y="355824"/>
            <a:ext cx="4078578" cy="276999"/>
          </a:xfrm>
          <a:prstGeom prst="rect">
            <a:avLst/>
          </a:prstGeom>
        </p:spPr>
        <p:txBody>
          <a:bodyPr wrap="square" tIns="0" anchor="b" anchorCtr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 b="1" i="0" cap="none" baseline="0">
                <a:solidFill>
                  <a:schemeClr val="accent2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Company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3AC8A6-E8FF-4022-890E-5FB65EA4DC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360" y="746644"/>
            <a:ext cx="4078578" cy="1231913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326865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E9673F3F-F729-4631-BED7-FED0ADE758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169" y="6588493"/>
            <a:ext cx="438831" cy="26950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 b="0" i="0">
                <a:solidFill>
                  <a:schemeClr val="tx1"/>
                </a:solidFill>
                <a:latin typeface="Graphik" panose="020B0503030202060203" pitchFamily="34" charset="77"/>
                <a:cs typeface="Segoe UI Semibold" panose="020B0702040204020203" pitchFamily="34" charset="0"/>
              </a:defRPr>
            </a:lvl1pPr>
          </a:lstStyle>
          <a:p>
            <a:fld id="{0EE23A24-5E29-4F5A-B780-9568AE9A51DD}" type="slidenum">
              <a:rPr lang="en-PL" smtClean="0"/>
              <a:pPr/>
              <a:t>‹#›</a:t>
            </a:fld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29020640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45019" y="332077"/>
            <a:ext cx="11491382" cy="34471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800" spc="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0348E6-5543-453A-986B-9CF9B8A278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019" y="714365"/>
            <a:ext cx="11491382" cy="425708"/>
          </a:xfrm>
          <a:prstGeom prst="rect">
            <a:avLst/>
          </a:prstGeom>
        </p:spPr>
        <p:txBody>
          <a:bodyPr lIns="0" tIns="0" rIns="0" bIns="0"/>
          <a:lstStyle>
            <a:lvl1pPr algn="l" defTabSz="17346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i="0" kern="1200" cap="none" spc="0" baseline="0" dirty="0">
                <a:solidFill>
                  <a:schemeClr val="accent1"/>
                </a:solidFill>
                <a:latin typeface="Graphik Black" panose="020B0A03030202060203" pitchFamily="34" charset="0"/>
                <a:ea typeface="Graphik Black" panose="020B0A03030202060203" pitchFamily="34" charset="0"/>
                <a:cs typeface="Graphik Black" panose="020B0A03030202060203" pitchFamily="34" charset="0"/>
              </a:defRPr>
            </a:lvl1pPr>
          </a:lstStyle>
          <a:p>
            <a:pPr lvl="0"/>
            <a:r>
              <a:rPr lang="en-US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414075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rora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9817" y="1524000"/>
            <a:ext cx="5181600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3817" y="1524000"/>
            <a:ext cx="4936414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0231" y="6356350"/>
            <a:ext cx="496632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82320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00662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7" pos="597">
          <p15:clr>
            <a:srgbClr val="FBAE40"/>
          </p15:clr>
        </p15:guide>
        <p15:guide id="8" pos="7083">
          <p15:clr>
            <a:srgbClr val="FBAE40"/>
          </p15:clr>
        </p15:guide>
        <p15:guide id="9" orient="horz" pos="119">
          <p15:clr>
            <a:srgbClr val="FBAE40"/>
          </p15:clr>
        </p15:guide>
        <p15:guide id="10" orient="horz" pos="3929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EAD9AED-9987-4CE9-B39D-B256B4620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</a:t>
            </a:r>
            <a:br>
              <a:rPr lang="en-GB"/>
            </a:br>
            <a:r>
              <a:rPr lang="en-GB"/>
              <a:t>(36pt, min 30pt)</a:t>
            </a:r>
            <a:endParaRPr lang="en-US"/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47788DB3-5AE6-4EE0-BA1A-48BA65E4F69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3478" y="1168671"/>
            <a:ext cx="11437371" cy="453183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 b="1" i="0">
                <a:solidFill>
                  <a:schemeClr val="tx1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26540118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2F61C189-E88E-47C6-9590-4DDA84807E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3F98DC-635B-4F7B-9683-E77B24BCA3C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79412" y="2214563"/>
            <a:ext cx="9961200" cy="38417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9D0C057-902E-4672-BC5C-A4E6DC861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397344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Keypoints 2.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AEC53D-33B0-473F-8FEF-D044CEC2BAF7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9B17BB-C14B-484A-99D9-8407CA6285AE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4" name="White Rectangle">
            <a:extLst>
              <a:ext uri="{FF2B5EF4-FFF2-40B4-BE49-F238E27FC236}">
                <a16:creationId xmlns:a16="http://schemas.microsoft.com/office/drawing/2014/main" id="{7F85634B-D655-45F5-B274-ED1F723718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12192000" cy="26755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963D771-3DAE-41D9-951D-8B5213B39D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781" y="637200"/>
            <a:ext cx="5557322" cy="1061438"/>
          </a:xfrm>
        </p:spPr>
        <p:txBody>
          <a:bodyPr/>
          <a:lstStyle>
            <a:lvl1pPr>
              <a:defRPr sz="4400">
                <a:latin typeface="Graphik Semibold" panose="020B0703030202060203" pitchFamily="34" charset="0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DDCE2E31-D391-493B-B358-C32EC9B2584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600" y="1718824"/>
            <a:ext cx="5524500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09BFCDC0-631D-46D2-B500-99178E8EC2A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84912" y="-1"/>
            <a:ext cx="5907087" cy="6045201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3A9521C-1018-4C92-B2C0-6F99BF3459D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70456" y="3659421"/>
            <a:ext cx="2583882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55303EE-8D35-46EB-BCBD-89ABAC587C7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22636" y="3659421"/>
            <a:ext cx="2578227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0691550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3335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10234C-451D-4E7A-978E-9149C22956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9411" y="2214562"/>
            <a:ext cx="5544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913FF3-5E8B-41AA-94A1-F4AA28FA516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64275" y="2214562"/>
            <a:ext cx="5544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619DC44-9B98-430A-B97B-EF69DE5C4A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5400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4C416D66-6B95-48F7-9FB0-B95BAD09C3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5642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591809-FBD2-4002-800C-B479F8DF6C2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3"/>
            <a:ext cx="5544000" cy="38417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01527E2-5E08-409E-A34A-135B8A194FB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264275" y="2214563"/>
            <a:ext cx="5544000" cy="38417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A3A4C6D-5A5C-48BD-B6B8-3DA1446C86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40202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DF5F7E-7617-43D2-B152-68B0836A97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8000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DA8E03-1102-4085-98C9-F9B61291BEE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02329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51F0277-50C4-4538-A470-D7433428139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6657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41ACA55-677E-4E89-B5E2-D03A01982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66374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71927D01-A3FF-4204-B5DF-4AE350A462F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61336A-DB63-44D5-9F70-939E9EAA328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02F35-EE56-4849-A21F-FE8FB47E07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302707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34A3A8E-78C1-429B-81CB-462EB30FE36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227413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31FB091-0A9A-4850-9031-668F0F280A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74433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image" Target="../media/image2.jpg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image" Target="../media/image3.emf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24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3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26.xml"/><Relationship Id="rId10" Type="http://schemas.openxmlformats.org/officeDocument/2006/relationships/image" Target="../media/image2.jpg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4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4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5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0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tags" Target="../tags/tag11.xml"/><Relationship Id="rId5" Type="http://schemas.openxmlformats.org/officeDocument/2006/relationships/theme" Target="../theme/theme6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51.xml"/><Relationship Id="rId9" Type="http://schemas.openxmlformats.org/officeDocument/2006/relationships/image" Target="../media/image1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99237B9-7FF2-48F5-B86B-4208FDC672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53386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99237B9-7FF2-48F5-B86B-4208FDC672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4944" y="390719"/>
            <a:ext cx="10789921" cy="9983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4945" y="1524000"/>
            <a:ext cx="1078992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2218648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12218648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12215747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12215747" y="2883470"/>
            <a:ext cx="155791" cy="5275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12215747" y="3460164"/>
            <a:ext cx="155791" cy="5275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12215747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12215747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/>
          <p:cNvSpPr/>
          <p:nvPr userDrawn="1"/>
        </p:nvSpPr>
        <p:spPr>
          <a:xfrm>
            <a:off x="12382950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/>
          <p:cNvSpPr/>
          <p:nvPr userDrawn="1"/>
        </p:nvSpPr>
        <p:spPr>
          <a:xfrm>
            <a:off x="12382950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/>
          <p:cNvSpPr/>
          <p:nvPr userDrawn="1"/>
        </p:nvSpPr>
        <p:spPr>
          <a:xfrm>
            <a:off x="12380049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/>
          <p:cNvSpPr/>
          <p:nvPr userDrawn="1"/>
        </p:nvSpPr>
        <p:spPr>
          <a:xfrm>
            <a:off x="12380049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/>
          <p:cNvSpPr/>
          <p:nvPr userDrawn="1"/>
        </p:nvSpPr>
        <p:spPr>
          <a:xfrm>
            <a:off x="12380049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/>
          <p:cNvSpPr/>
          <p:nvPr userDrawn="1"/>
        </p:nvSpPr>
        <p:spPr>
          <a:xfrm>
            <a:off x="12380049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/>
          <p:cNvSpPr/>
          <p:nvPr userDrawn="1"/>
        </p:nvSpPr>
        <p:spPr>
          <a:xfrm>
            <a:off x="12380049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/>
          <p:cNvSpPr/>
          <p:nvPr userDrawn="1"/>
        </p:nvSpPr>
        <p:spPr>
          <a:xfrm>
            <a:off x="12218648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/>
          <p:cNvSpPr/>
          <p:nvPr userDrawn="1"/>
        </p:nvSpPr>
        <p:spPr>
          <a:xfrm>
            <a:off x="12382950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3487A4F-6663-4B11-A57C-4B1187B8FC92}"/>
              </a:ext>
            </a:extLst>
          </p:cNvPr>
          <p:cNvSpPr/>
          <p:nvPr userDrawn="1"/>
        </p:nvSpPr>
        <p:spPr>
          <a:xfrm>
            <a:off x="694944" y="0"/>
            <a:ext cx="10789920" cy="45719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FFD700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id="{18CD0548-9E46-DA43-A090-8E91594FD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3102" y="6217537"/>
            <a:ext cx="4388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fld id="{0EE23A24-5E29-4F5A-B780-9568AE9A51D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AA996A0C-6339-DB4A-68C9-F30919381DF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3325" y="6250697"/>
            <a:ext cx="1494933" cy="542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018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4007" r:id="rId2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Segoe UI Semibold" panose="020B0502040204020203" pitchFamily="34" charset="0"/>
          <a:ea typeface="Segoe UI Semibold" panose="020B0502040204020203" pitchFamily="34" charset="0"/>
          <a:cs typeface="Segoe UI Semibold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/>
        <a:buNone/>
        <a:defRPr sz="20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127ECF-3B2C-4958-A53B-DD06F97F17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16" imgH="416" progId="TCLayout.ActiveDocument.1">
                  <p:embed/>
                </p:oleObj>
              </mc:Choice>
              <mc:Fallback>
                <p:oleObj name="think-cell Slide" r:id="rId23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4127ECF-3B2C-4958-A53B-DD06F97F1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4121DC9-ED73-4C84-A33E-7697EF8A09C2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6398B6-6443-4D67-A365-3AF9C47C4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384069"/>
            <a:ext cx="9961200" cy="721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FFFA29-D1E3-47B0-8A22-1D402B88F9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9414" y="1828800"/>
            <a:ext cx="9959886" cy="42276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2C4EA6-96D4-4758-892E-0B9855AA29C6}"/>
              </a:ext>
            </a:extLst>
          </p:cNvPr>
          <p:cNvSpPr txBox="1"/>
          <p:nvPr userDrawn="1"/>
        </p:nvSpPr>
        <p:spPr>
          <a:xfrm>
            <a:off x="11583626" y="6414756"/>
            <a:ext cx="23594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D79F6B-D2B4-41B8-B8FC-E52BF754EDA5}" type="slidenum">
              <a:rPr lang="en-US" sz="800" smtClean="0"/>
              <a:t>‹#›</a:t>
            </a:fld>
            <a:endParaRPr lang="en-AU" sz="8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3B40EE0-EBB0-5491-FC10-C59EB2013B3C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3325" y="6250697"/>
            <a:ext cx="1494933" cy="542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298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3" r:id="rId18"/>
    <p:sldLayoutId id="2147483864" r:id="rId19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36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95">
          <p15:clr>
            <a:srgbClr val="F26B43"/>
          </p15:clr>
        </p15:guide>
        <p15:guide id="2" pos="239">
          <p15:clr>
            <a:srgbClr val="F26B43"/>
          </p15:clr>
        </p15:guide>
        <p15:guide id="3" pos="950">
          <p15:clr>
            <a:srgbClr val="F26B43"/>
          </p15:clr>
        </p15:guide>
        <p15:guide id="4" pos="1165">
          <p15:clr>
            <a:srgbClr val="F26B43"/>
          </p15:clr>
        </p15:guide>
        <p15:guide id="5" pos="1877">
          <p15:clr>
            <a:srgbClr val="F26B43"/>
          </p15:clr>
        </p15:guide>
        <p15:guide id="6" pos="2093">
          <p15:clr>
            <a:srgbClr val="F26B43"/>
          </p15:clr>
        </p15:guide>
        <p15:guide id="7" pos="2805">
          <p15:clr>
            <a:srgbClr val="F26B43"/>
          </p15:clr>
        </p15:guide>
        <p15:guide id="8" pos="3020">
          <p15:clr>
            <a:srgbClr val="F26B43"/>
          </p15:clr>
        </p15:guide>
        <p15:guide id="9" pos="3731">
          <p15:clr>
            <a:srgbClr val="F26B43"/>
          </p15:clr>
        </p15:guide>
        <p15:guide id="10" pos="3946">
          <p15:clr>
            <a:srgbClr val="F26B43"/>
          </p15:clr>
        </p15:guide>
        <p15:guide id="11" pos="4659">
          <p15:clr>
            <a:srgbClr val="F26B43"/>
          </p15:clr>
        </p15:guide>
        <p15:guide id="12" pos="4873">
          <p15:clr>
            <a:srgbClr val="F26B43"/>
          </p15:clr>
        </p15:guide>
        <p15:guide id="13" pos="5585">
          <p15:clr>
            <a:srgbClr val="F26B43"/>
          </p15:clr>
        </p15:guide>
        <p15:guide id="14" pos="5800">
          <p15:clr>
            <a:srgbClr val="F26B43"/>
          </p15:clr>
        </p15:guide>
        <p15:guide id="15" pos="6512">
          <p15:clr>
            <a:srgbClr val="F26B43"/>
          </p15:clr>
        </p15:guide>
        <p15:guide id="16" pos="6727">
          <p15:clr>
            <a:srgbClr val="F26B43"/>
          </p15:clr>
        </p15:guide>
        <p15:guide id="17" pos="7439">
          <p15:clr>
            <a:srgbClr val="F26B43"/>
          </p15:clr>
        </p15:guide>
        <p15:guide id="18" orient="horz" pos="4103">
          <p15:clr>
            <a:srgbClr val="F26B43"/>
          </p15:clr>
        </p15:guide>
        <p15:guide id="19" orient="horz" pos="3815">
          <p15:clr>
            <a:srgbClr val="F26B43"/>
          </p15:clr>
        </p15:guide>
        <p15:guide id="20" orient="horz" pos="2614">
          <p15:clr>
            <a:srgbClr val="F26B43"/>
          </p15:clr>
        </p15:guide>
        <p15:guide id="21" orient="horz" pos="1152">
          <p15:clr>
            <a:srgbClr val="F26B43"/>
          </p15:clr>
        </p15:guide>
        <p15:guide id="22" orient="horz" pos="240">
          <p15:clr>
            <a:srgbClr val="F26B43"/>
          </p15:clr>
        </p15:guide>
        <p15:guide id="23" pos="480">
          <p15:clr>
            <a:srgbClr val="5ACBF0"/>
          </p15:clr>
        </p15:guide>
        <p15:guide id="24" orient="horz" pos="480">
          <p15:clr>
            <a:srgbClr val="5ACBF0"/>
          </p15:clr>
        </p15:guide>
        <p15:guide id="25" pos="7198">
          <p15:clr>
            <a:srgbClr val="5ACBF0"/>
          </p15:clr>
        </p15:guide>
        <p15:guide id="26" orient="horz" pos="4214">
          <p15:clr>
            <a:srgbClr val="5ACBF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49251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026BF84-863A-47AA-750A-403AAAEEC1D9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3325" y="6250697"/>
            <a:ext cx="1494933" cy="542516"/>
          </a:xfrm>
          <a:prstGeom prst="rect">
            <a:avLst/>
          </a:prstGeom>
        </p:spPr>
      </p:pic>
      <p:pic>
        <p:nvPicPr>
          <p:cNvPr id="12" name="Picture 11" descr="AvanadeLogoNoTM_AWColor_RGB.png">
            <a:extLst>
              <a:ext uri="{FF2B5EF4-FFF2-40B4-BE49-F238E27FC236}">
                <a16:creationId xmlns:a16="http://schemas.microsoft.com/office/drawing/2014/main" id="{FD389CE2-E729-4BE6-67E3-66F0DBE4BB2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6274" y="6247636"/>
            <a:ext cx="1494933" cy="548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649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22" r:id="rId4"/>
    <p:sldLayoutId id="2147483924" r:id="rId5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93018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95325" y="381000"/>
            <a:ext cx="10764838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4" name="Picture 13" descr="AvanadeLogoNoTM_AWColor_RGB.png">
            <a:extLst>
              <a:ext uri="{FF2B5EF4-FFF2-40B4-BE49-F238E27FC236}">
                <a16:creationId xmlns:a16="http://schemas.microsoft.com/office/drawing/2014/main" id="{3DB7AC2C-A9F3-4D51-875B-60CA03D53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1977" y="6470444"/>
            <a:ext cx="1148452" cy="293855"/>
          </a:xfrm>
          <a:prstGeom prst="rect">
            <a:avLst/>
          </a:prstGeom>
        </p:spPr>
      </p:pic>
      <p:pic>
        <p:nvPicPr>
          <p:cNvPr id="15" name="Acc_CoreBrand_Logo_Black_Purple">
            <a:extLst>
              <a:ext uri="{FF2B5EF4-FFF2-40B4-BE49-F238E27FC236}">
                <a16:creationId xmlns:a16="http://schemas.microsoft.com/office/drawing/2014/main" id="{B9AB9BE8-B69D-49BE-8791-332B57EF272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3127"/>
            <a:ext cx="788581" cy="21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67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53" r:id="rId3"/>
    <p:sldLayoutId id="2147483954" r:id="rId4"/>
    <p:sldLayoutId id="2147483955" r:id="rId5"/>
    <p:sldLayoutId id="2147483957" r:id="rId6"/>
    <p:sldLayoutId id="2147483958" r:id="rId7"/>
    <p:sldLayoutId id="2147483959" r:id="rId8"/>
    <p:sldLayoutId id="2147483960" r:id="rId9"/>
    <p:sldLayoutId id="2147483961" r:id="rId10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  <p15:guide id="11" pos="438">
          <p15:clr>
            <a:srgbClr val="5ACBF0"/>
          </p15:clr>
        </p15:guide>
        <p15:guide id="12" pos="7219">
          <p15:clr>
            <a:srgbClr val="5ACBF0"/>
          </p15:clr>
        </p15:guide>
        <p15:guide id="13" pos="3840">
          <p15:clr>
            <a:srgbClr val="5ACBF0"/>
          </p15:clr>
        </p15:guide>
        <p15:guide id="14" pos="3727">
          <p15:clr>
            <a:srgbClr val="5ACBF0"/>
          </p15:clr>
        </p15:guide>
        <p15:guide id="15" pos="3953">
          <p15:clr>
            <a:srgbClr val="5ACBF0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40030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95325" y="381000"/>
            <a:ext cx="10764838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4" name="Picture 13" descr="AvanadeLogoNoTM_AWColor_RGB.png">
            <a:extLst>
              <a:ext uri="{FF2B5EF4-FFF2-40B4-BE49-F238E27FC236}">
                <a16:creationId xmlns:a16="http://schemas.microsoft.com/office/drawing/2014/main" id="{3DB7AC2C-A9F3-4D51-875B-60CA03D53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1977" y="6470444"/>
            <a:ext cx="1148452" cy="293855"/>
          </a:xfrm>
          <a:prstGeom prst="rect">
            <a:avLst/>
          </a:prstGeom>
        </p:spPr>
      </p:pic>
      <p:pic>
        <p:nvPicPr>
          <p:cNvPr id="15" name="Acc_CoreBrand_Logo_Black_Purple">
            <a:extLst>
              <a:ext uri="{FF2B5EF4-FFF2-40B4-BE49-F238E27FC236}">
                <a16:creationId xmlns:a16="http://schemas.microsoft.com/office/drawing/2014/main" id="{B9AB9BE8-B69D-49BE-8791-332B57EF2721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3127"/>
            <a:ext cx="788581" cy="21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855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87" r:id="rId3"/>
    <p:sldLayoutId id="2147483990" r:id="rId4"/>
    <p:sldLayoutId id="2147483991" r:id="rId5"/>
    <p:sldLayoutId id="2147483992" r:id="rId6"/>
    <p:sldLayoutId id="2147483994" r:id="rId7"/>
    <p:sldLayoutId id="2147483995" r:id="rId8"/>
    <p:sldLayoutId id="2147483996" r:id="rId9"/>
    <p:sldLayoutId id="2147483997" r:id="rId10"/>
    <p:sldLayoutId id="2147483998" r:id="rId11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  <p15:guide id="11" pos="438">
          <p15:clr>
            <a:srgbClr val="5ACBF0"/>
          </p15:clr>
        </p15:guide>
        <p15:guide id="12" pos="7219">
          <p15:clr>
            <a:srgbClr val="5ACBF0"/>
          </p15:clr>
        </p15:guide>
        <p15:guide id="13" pos="3840">
          <p15:clr>
            <a:srgbClr val="5ACBF0"/>
          </p15:clr>
        </p15:guide>
        <p15:guide id="14" pos="3727">
          <p15:clr>
            <a:srgbClr val="5ACBF0"/>
          </p15:clr>
        </p15:guide>
        <p15:guide id="15" pos="3953">
          <p15:clr>
            <a:srgbClr val="5ACBF0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49251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4" name="Picture 13" descr="AvanadeLogoNoTM_AWColor_RGB.png">
            <a:extLst>
              <a:ext uri="{FF2B5EF4-FFF2-40B4-BE49-F238E27FC236}">
                <a16:creationId xmlns:a16="http://schemas.microsoft.com/office/drawing/2014/main" id="{3DB7AC2C-A9F3-4D51-875B-60CA03D53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70" b="15810"/>
          <a:stretch/>
        </p:blipFill>
        <p:spPr>
          <a:xfrm>
            <a:off x="1211977" y="6470444"/>
            <a:ext cx="1148452" cy="293855"/>
          </a:xfrm>
          <a:prstGeom prst="rect">
            <a:avLst/>
          </a:prstGeom>
        </p:spPr>
      </p:pic>
      <p:pic>
        <p:nvPicPr>
          <p:cNvPr id="15" name="Acc_CoreBrand_Logo_Black_Purple">
            <a:extLst>
              <a:ext uri="{FF2B5EF4-FFF2-40B4-BE49-F238E27FC236}">
                <a16:creationId xmlns:a16="http://schemas.microsoft.com/office/drawing/2014/main" id="{B9AB9BE8-B69D-49BE-8791-332B57EF2721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81000" y="6483127"/>
            <a:ext cx="788581" cy="21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87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3" r:id="rId1"/>
    <p:sldLayoutId id="2147484004" r:id="rId2"/>
    <p:sldLayoutId id="2147484005" r:id="rId3"/>
    <p:sldLayoutId id="2147484006" r:id="rId4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0277EBF-2535-4910-80E8-064E3E9DE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573108"/>
          </a:xfrm>
        </p:spPr>
        <p:txBody>
          <a:bodyPr/>
          <a:lstStyle/>
          <a:p>
            <a:r>
              <a:rPr lang="en-AU" sz="2800" dirty="0"/>
              <a:t>Vulnerability I4.3 NTLM v2 - Overview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2B7134-1B67-4A3C-139C-0CEE41F131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1</a:t>
            </a:fld>
            <a:endParaRPr lang="en-CA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6FB0C7-9F6E-4488-31D0-33B3CD2F4AA0}"/>
              </a:ext>
            </a:extLst>
          </p:cNvPr>
          <p:cNvSpPr txBox="1"/>
          <p:nvPr/>
        </p:nvSpPr>
        <p:spPr>
          <a:xfrm>
            <a:off x="805542" y="1295399"/>
            <a:ext cx="1016725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b="0" i="0" dirty="0">
                <a:solidFill>
                  <a:srgbClr val="0C263F"/>
                </a:solidFill>
                <a:effectLst/>
                <a:latin typeface="Titillium Web" panose="00000500000000000000" pitchFamily="2" charset="0"/>
              </a:rPr>
              <a:t>NTLMv1 hash is always at the </a:t>
            </a:r>
            <a:r>
              <a:rPr lang="en-US" b="1" i="0" dirty="0">
                <a:solidFill>
                  <a:srgbClr val="0C263F"/>
                </a:solidFill>
                <a:effectLst/>
                <a:latin typeface="Titillium Web" panose="00000500000000000000" pitchFamily="2" charset="0"/>
              </a:rPr>
              <a:t>same length</a:t>
            </a:r>
            <a:r>
              <a:rPr lang="en-US" b="0" i="0" dirty="0">
                <a:solidFill>
                  <a:srgbClr val="0C263F"/>
                </a:solidFill>
                <a:effectLst/>
                <a:latin typeface="Titillium Web" panose="00000500000000000000" pitchFamily="2" charset="0"/>
              </a:rPr>
              <a:t>, it is only a matter of seconds if an attacker wants to crack it. In addition, the challenge-response mechanism exposes the password to offline cracking. It is recommended not to use it if possible.</a:t>
            </a:r>
          </a:p>
          <a:p>
            <a:pPr algn="just"/>
            <a:endParaRPr lang="en-US" dirty="0">
              <a:solidFill>
                <a:srgbClr val="0C263F"/>
              </a:solidFill>
              <a:latin typeface="Titillium Web" panose="00000500000000000000" pitchFamily="2" charset="0"/>
            </a:endParaRPr>
          </a:p>
          <a:p>
            <a:pPr algn="just"/>
            <a:r>
              <a:rPr lang="en-US" b="0" i="0" dirty="0">
                <a:solidFill>
                  <a:srgbClr val="0C263F"/>
                </a:solidFill>
                <a:effectLst/>
                <a:latin typeface="Titillium Web" panose="00000500000000000000" pitchFamily="2" charset="0"/>
              </a:rPr>
              <a:t>NTLM v2 also uses the same flow as NTLMv1 but has two changes:</a:t>
            </a:r>
          </a:p>
          <a:p>
            <a:pPr algn="just"/>
            <a:endParaRPr lang="en-US" dirty="0">
              <a:solidFill>
                <a:srgbClr val="0C263F"/>
              </a:solidFill>
              <a:latin typeface="Titillium Web" panose="00000500000000000000" pitchFamily="2" charset="0"/>
            </a:endParaRPr>
          </a:p>
          <a:p>
            <a:pPr marL="342900" indent="-342900" algn="just">
              <a:buAutoNum type="arabicPeriod"/>
            </a:pPr>
            <a:r>
              <a:rPr lang="en-US" b="0" i="0" dirty="0">
                <a:solidFill>
                  <a:srgbClr val="0C263F"/>
                </a:solidFill>
                <a:effectLst/>
                <a:latin typeface="Titillium Web" panose="00000500000000000000" pitchFamily="2" charset="0"/>
              </a:rPr>
              <a:t>The client includes </a:t>
            </a:r>
            <a:r>
              <a:rPr lang="en-US" b="1" i="0" dirty="0">
                <a:solidFill>
                  <a:srgbClr val="0C263F"/>
                </a:solidFill>
                <a:effectLst/>
                <a:latin typeface="Titillium Web" panose="00000500000000000000" pitchFamily="2" charset="0"/>
              </a:rPr>
              <a:t>a timestamp </a:t>
            </a:r>
            <a:r>
              <a:rPr lang="en-US" b="0" i="0" dirty="0">
                <a:solidFill>
                  <a:srgbClr val="0C263F"/>
                </a:solidFill>
                <a:effectLst/>
                <a:latin typeface="Titillium Web" panose="00000500000000000000" pitchFamily="2" charset="0"/>
              </a:rPr>
              <a:t>when it sends the username to the client . </a:t>
            </a:r>
            <a:endParaRPr lang="en-US" dirty="0">
              <a:solidFill>
                <a:srgbClr val="0C263F"/>
              </a:solidFill>
              <a:latin typeface="Titillium Web" panose="00000500000000000000" pitchFamily="2" charset="0"/>
            </a:endParaRPr>
          </a:p>
          <a:p>
            <a:pPr marL="342900" indent="-342900" algn="just">
              <a:buAutoNum type="arabicPeriod"/>
            </a:pPr>
            <a:r>
              <a:rPr lang="en-US" b="0" i="0" dirty="0">
                <a:solidFill>
                  <a:srgbClr val="0C263F"/>
                </a:solidFill>
                <a:effectLst/>
                <a:latin typeface="Titillium Web" panose="00000500000000000000" pitchFamily="2" charset="0"/>
              </a:rPr>
              <a:t>The targeted server generates a </a:t>
            </a:r>
            <a:r>
              <a:rPr lang="en-US" b="1" i="0" dirty="0">
                <a:solidFill>
                  <a:srgbClr val="0C263F"/>
                </a:solidFill>
                <a:effectLst/>
                <a:latin typeface="Titillium Web" panose="00000500000000000000" pitchFamily="2" charset="0"/>
              </a:rPr>
              <a:t>variable-length challenge </a:t>
            </a:r>
            <a:r>
              <a:rPr lang="en-US" b="0" i="0" dirty="0">
                <a:solidFill>
                  <a:srgbClr val="0C263F"/>
                </a:solidFill>
                <a:effectLst/>
                <a:latin typeface="Titillium Web" panose="00000500000000000000" pitchFamily="2" charset="0"/>
              </a:rPr>
              <a:t>(instead of a 16-byte challenge). These changes help mitigating relay attacks.</a:t>
            </a:r>
          </a:p>
        </p:txBody>
      </p:sp>
    </p:spTree>
    <p:extLst>
      <p:ext uri="{BB962C8B-B14F-4D97-AF65-F5344CB8AC3E}">
        <p14:creationId xmlns:p14="http://schemas.microsoft.com/office/powerpoint/2010/main" val="104647671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0277EBF-2535-4910-80E8-064E3E9DE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573108"/>
          </a:xfrm>
        </p:spPr>
        <p:txBody>
          <a:bodyPr/>
          <a:lstStyle/>
          <a:p>
            <a:r>
              <a:rPr lang="en-AU" sz="2800" dirty="0"/>
              <a:t>Vulnerability I4.3 NTLM v2 – Remediation Pla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2B7134-1B67-4A3C-139C-0CEE41F131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2</a:t>
            </a:fld>
            <a:endParaRPr lang="en-CA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6FB0C7-9F6E-4488-31D0-33B3CD2F4AA0}"/>
              </a:ext>
            </a:extLst>
          </p:cNvPr>
          <p:cNvSpPr txBox="1"/>
          <p:nvPr/>
        </p:nvSpPr>
        <p:spPr>
          <a:xfrm>
            <a:off x="870857" y="913026"/>
            <a:ext cx="10167258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w we push changes to servers?</a:t>
            </a:r>
          </a:p>
          <a:p>
            <a:r>
              <a:rPr lang="en-US" sz="18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roup policy Objects will be used to push NTLMv2 configuration to targeted servers.</a:t>
            </a:r>
            <a:r>
              <a:rPr lang="en-AU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endParaRPr lang="en-AU" sz="1800" dirty="0"/>
          </a:p>
          <a:p>
            <a:r>
              <a:rPr lang="en-AU" sz="1800" dirty="0"/>
              <a:t>Default GPO refresh Interval	: </a:t>
            </a:r>
            <a:r>
              <a:rPr lang="en-AU" sz="1800" b="1" dirty="0"/>
              <a:t>90 minutes</a:t>
            </a:r>
          </a:p>
          <a:p>
            <a:r>
              <a:rPr lang="en-AU" dirty="0"/>
              <a:t>Default Downtime			: </a:t>
            </a:r>
            <a:r>
              <a:rPr lang="en-AU" b="1" dirty="0"/>
              <a:t>Zero minutes</a:t>
            </a:r>
          </a:p>
          <a:p>
            <a:endParaRPr lang="en-AU" b="1" dirty="0"/>
          </a:p>
          <a:p>
            <a:endParaRPr lang="en-AU" sz="1800" b="1" dirty="0"/>
          </a:p>
          <a:p>
            <a:r>
              <a:rPr lang="en-AU" b="1" dirty="0"/>
              <a:t>How to detect if change happens?</a:t>
            </a:r>
          </a:p>
          <a:p>
            <a:r>
              <a:rPr lang="en-AU" dirty="0"/>
              <a:t>Project Team will check </a:t>
            </a:r>
            <a:r>
              <a:rPr lang="en-AU" dirty="0" err="1"/>
              <a:t>LMCompatibilityLevel</a:t>
            </a:r>
            <a:r>
              <a:rPr lang="en-AU" dirty="0"/>
              <a:t> set to “5” and result set of policies value set to “Send NTLM v2 response Only – Refuse LM &amp; NTLM” on the machine.</a:t>
            </a:r>
          </a:p>
          <a:p>
            <a:endParaRPr lang="en-AU" dirty="0"/>
          </a:p>
          <a:p>
            <a:endParaRPr lang="en-AU" b="1" dirty="0"/>
          </a:p>
          <a:p>
            <a:r>
              <a:rPr lang="en-AU" b="1" dirty="0"/>
              <a:t>What happens if changes does not apply successfully?</a:t>
            </a:r>
          </a:p>
          <a:p>
            <a:r>
              <a:rPr lang="en-AU" dirty="0"/>
              <a:t>Application should not be affected; older Policy should still be in effect. </a:t>
            </a:r>
          </a:p>
          <a:p>
            <a:endParaRPr lang="en-AU" dirty="0"/>
          </a:p>
          <a:p>
            <a:endParaRPr lang="en-AU" dirty="0"/>
          </a:p>
          <a:p>
            <a:r>
              <a:rPr lang="en-AU" sz="1800" b="1" dirty="0"/>
              <a:t>Rollbac</a:t>
            </a:r>
            <a:r>
              <a:rPr lang="en-AU" b="1" dirty="0"/>
              <a:t>k Plan</a:t>
            </a:r>
            <a:endParaRPr lang="en-AU" sz="1800" b="1" dirty="0"/>
          </a:p>
          <a:p>
            <a:r>
              <a:rPr lang="en-AU" dirty="0"/>
              <a:t>Unlink GPO and revert to older configuration. </a:t>
            </a:r>
            <a:endParaRPr lang="en-AU" b="1" dirty="0"/>
          </a:p>
        </p:txBody>
      </p:sp>
    </p:spTree>
    <p:extLst>
      <p:ext uri="{BB962C8B-B14F-4D97-AF65-F5344CB8AC3E}">
        <p14:creationId xmlns:p14="http://schemas.microsoft.com/office/powerpoint/2010/main" val="326113334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0277EBF-2535-4910-80E8-064E3E9DE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671962"/>
          </a:xfrm>
        </p:spPr>
        <p:txBody>
          <a:bodyPr/>
          <a:lstStyle/>
          <a:p>
            <a:r>
              <a:rPr lang="en-AU" sz="2800" dirty="0"/>
              <a:t>Vulnerability I4.3 NTLM v2 – Deployment Pla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2B7134-1B67-4A3C-139C-0CEE41F131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3</a:t>
            </a:fld>
            <a:endParaRPr lang="en-CA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F0B0F06-875F-38DD-8ADA-7B5520E5AAD9}"/>
              </a:ext>
            </a:extLst>
          </p:cNvPr>
          <p:cNvSpPr txBox="1"/>
          <p:nvPr/>
        </p:nvSpPr>
        <p:spPr>
          <a:xfrm>
            <a:off x="919976" y="1814962"/>
            <a:ext cx="762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 dirty="0">
                <a:solidFill>
                  <a:srgbClr val="0070C0"/>
                </a:solidFill>
              </a:rPr>
              <a:t>***Time Zone shown in the table is Sydney, Melbourne Time (AEST)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837A1A3-3C56-F657-345E-4B1CB86A71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0328785"/>
              </p:ext>
            </p:extLst>
          </p:nvPr>
        </p:nvGraphicFramePr>
        <p:xfrm>
          <a:off x="700882" y="2517913"/>
          <a:ext cx="10790235" cy="3036103"/>
        </p:xfrm>
        <a:graphic>
          <a:graphicData uri="http://schemas.openxmlformats.org/drawingml/2006/table">
            <a:tbl>
              <a:tblPr/>
              <a:tblGrid>
                <a:gridCol w="2421700">
                  <a:extLst>
                    <a:ext uri="{9D8B030D-6E8A-4147-A177-3AD203B41FA5}">
                      <a16:colId xmlns:a16="http://schemas.microsoft.com/office/drawing/2014/main" val="3536523798"/>
                    </a:ext>
                  </a:extLst>
                </a:gridCol>
                <a:gridCol w="576130">
                  <a:extLst>
                    <a:ext uri="{9D8B030D-6E8A-4147-A177-3AD203B41FA5}">
                      <a16:colId xmlns:a16="http://schemas.microsoft.com/office/drawing/2014/main" val="159425611"/>
                    </a:ext>
                  </a:extLst>
                </a:gridCol>
                <a:gridCol w="576130">
                  <a:extLst>
                    <a:ext uri="{9D8B030D-6E8A-4147-A177-3AD203B41FA5}">
                      <a16:colId xmlns:a16="http://schemas.microsoft.com/office/drawing/2014/main" val="1902344855"/>
                    </a:ext>
                  </a:extLst>
                </a:gridCol>
                <a:gridCol w="683544">
                  <a:extLst>
                    <a:ext uri="{9D8B030D-6E8A-4147-A177-3AD203B41FA5}">
                      <a16:colId xmlns:a16="http://schemas.microsoft.com/office/drawing/2014/main" val="1484789525"/>
                    </a:ext>
                  </a:extLst>
                </a:gridCol>
                <a:gridCol w="683544">
                  <a:extLst>
                    <a:ext uri="{9D8B030D-6E8A-4147-A177-3AD203B41FA5}">
                      <a16:colId xmlns:a16="http://schemas.microsoft.com/office/drawing/2014/main" val="825855534"/>
                    </a:ext>
                  </a:extLst>
                </a:gridCol>
                <a:gridCol w="917903">
                  <a:extLst>
                    <a:ext uri="{9D8B030D-6E8A-4147-A177-3AD203B41FA5}">
                      <a16:colId xmlns:a16="http://schemas.microsoft.com/office/drawing/2014/main" val="1408141718"/>
                    </a:ext>
                  </a:extLst>
                </a:gridCol>
                <a:gridCol w="917903">
                  <a:extLst>
                    <a:ext uri="{9D8B030D-6E8A-4147-A177-3AD203B41FA5}">
                      <a16:colId xmlns:a16="http://schemas.microsoft.com/office/drawing/2014/main" val="953857588"/>
                    </a:ext>
                  </a:extLst>
                </a:gridCol>
                <a:gridCol w="576130">
                  <a:extLst>
                    <a:ext uri="{9D8B030D-6E8A-4147-A177-3AD203B41FA5}">
                      <a16:colId xmlns:a16="http://schemas.microsoft.com/office/drawing/2014/main" val="5508207"/>
                    </a:ext>
                  </a:extLst>
                </a:gridCol>
                <a:gridCol w="664015">
                  <a:extLst>
                    <a:ext uri="{9D8B030D-6E8A-4147-A177-3AD203B41FA5}">
                      <a16:colId xmlns:a16="http://schemas.microsoft.com/office/drawing/2014/main" val="4216564384"/>
                    </a:ext>
                  </a:extLst>
                </a:gridCol>
                <a:gridCol w="693309">
                  <a:extLst>
                    <a:ext uri="{9D8B030D-6E8A-4147-A177-3AD203B41FA5}">
                      <a16:colId xmlns:a16="http://schemas.microsoft.com/office/drawing/2014/main" val="3068993221"/>
                    </a:ext>
                  </a:extLst>
                </a:gridCol>
                <a:gridCol w="693309">
                  <a:extLst>
                    <a:ext uri="{9D8B030D-6E8A-4147-A177-3AD203B41FA5}">
                      <a16:colId xmlns:a16="http://schemas.microsoft.com/office/drawing/2014/main" val="3990930347"/>
                    </a:ext>
                  </a:extLst>
                </a:gridCol>
                <a:gridCol w="693309">
                  <a:extLst>
                    <a:ext uri="{9D8B030D-6E8A-4147-A177-3AD203B41FA5}">
                      <a16:colId xmlns:a16="http://schemas.microsoft.com/office/drawing/2014/main" val="2964894499"/>
                    </a:ext>
                  </a:extLst>
                </a:gridCol>
                <a:gridCol w="693309">
                  <a:extLst>
                    <a:ext uri="{9D8B030D-6E8A-4147-A177-3AD203B41FA5}">
                      <a16:colId xmlns:a16="http://schemas.microsoft.com/office/drawing/2014/main" val="2292282041"/>
                    </a:ext>
                  </a:extLst>
                </a:gridCol>
              </a:tblGrid>
              <a:tr h="157215">
                <a:tc rowSpan="4"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PLOYMENT DATE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8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-CRITICAL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ITICAL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0724649"/>
                  </a:ext>
                </a:extLst>
              </a:tr>
              <a:tr h="1572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A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B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C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D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E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F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G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H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I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J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K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4961103"/>
                  </a:ext>
                </a:extLst>
              </a:tr>
              <a:tr h="2743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Sep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Sep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-Sep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-Sep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-Sep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ching </a:t>
                      </a:r>
                      <a:b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ndow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-Sep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-Sep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-Sep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Oc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ching </a:t>
                      </a:r>
                      <a:b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ndow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6165477"/>
                  </a:ext>
                </a:extLst>
              </a:tr>
              <a:tr h="30027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I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D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I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ching </a:t>
                      </a:r>
                      <a:b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y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T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D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ching </a:t>
                      </a:r>
                      <a:b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y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771909"/>
                  </a:ext>
                </a:extLst>
              </a:tr>
              <a:tr h="1318264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PLOYMENT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R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00 AEST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 per  detailed mentioned in cmdb patching </a:t>
                      </a:r>
                      <a:b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ndow &amp; based on discussion with server Owner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00 AEST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 per  detailed mentioned in cmdb patching </a:t>
                      </a:r>
                      <a:b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ndow &amp; based on discussion with server Owner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8789353"/>
                  </a:ext>
                </a:extLst>
              </a:tr>
              <a:tr h="157215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PLOYMENT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ISH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AEST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AEST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6081952"/>
                  </a:ext>
                </a:extLst>
              </a:tr>
              <a:tr h="157215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PLOYMENT VALIDATION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R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 AEST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 AEST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949296"/>
                  </a:ext>
                </a:extLst>
              </a:tr>
              <a:tr h="157215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PLOYMENT VALIDATION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ISH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0 AEST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0 AEST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9307119"/>
                  </a:ext>
                </a:extLst>
              </a:tr>
              <a:tr h="157215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YPERCARE - POST CHANGE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R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1 AEST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1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1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1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1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1 AEST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1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1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1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1519210"/>
                  </a:ext>
                </a:extLst>
              </a:tr>
              <a:tr h="157215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YPERCARE - POST CHANGE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ISH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00 AEST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00 AEST</a:t>
                      </a:r>
                    </a:p>
                  </a:txBody>
                  <a:tcPr marL="4882" marR="4882" marT="4882" marB="3515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00 AEST</a:t>
                      </a:r>
                    </a:p>
                  </a:txBody>
                  <a:tcPr marL="4882" marR="4882" marT="4882" marB="35154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64971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399314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944" y="390719"/>
            <a:ext cx="10789921" cy="685186"/>
          </a:xfrm>
        </p:spPr>
        <p:txBody>
          <a:bodyPr/>
          <a:lstStyle/>
          <a:p>
            <a:r>
              <a:rPr lang="en-AU" sz="2800" dirty="0">
                <a:latin typeface="Segoe UI Semibold"/>
                <a:cs typeface="Segoe UI Semibold"/>
              </a:rPr>
              <a:t>Vulnerability I4.3 NTLM v2 - Questions </a:t>
            </a:r>
            <a:endParaRPr lang="en-AU" sz="2800" dirty="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67DF9DE5-0477-2C69-1EEC-058CEBAE67AA}"/>
              </a:ext>
            </a:extLst>
          </p:cNvPr>
          <p:cNvSpPr txBox="1"/>
          <p:nvPr/>
        </p:nvSpPr>
        <p:spPr>
          <a:xfrm>
            <a:off x="6327161" y="1158325"/>
            <a:ext cx="5344662" cy="461664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lang="en-AU" sz="1400" dirty="0"/>
              <a:t>     Questions to Applications Owner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400" dirty="0">
              <a:solidFill>
                <a:srgbClr val="000000"/>
              </a:solidFill>
              <a:latin typeface="Graphik"/>
            </a:endParaRPr>
          </a:p>
          <a:p>
            <a:pPr marL="342900" marR="0" lvl="0" indent="-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400" dirty="0"/>
              <a:t>What is your preferred deployment dates and time/</a:t>
            </a:r>
            <a:r>
              <a:rPr lang="en-US" sz="1400" dirty="0" err="1"/>
              <a:t>timezone</a:t>
            </a:r>
            <a:r>
              <a:rPr lang="en-US" sz="1400" dirty="0"/>
              <a:t>?</a:t>
            </a: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siness days (business hours)</a:t>
            </a: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siness days (outside business hours)</a:t>
            </a: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lang="en-US" sz="1400" dirty="0"/>
              <a:t>Weekends</a:t>
            </a: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endParaRPr lang="en-US" sz="1400" dirty="0"/>
          </a:p>
          <a:p>
            <a:pPr marL="342900" indent="-342900" algn="just">
              <a:buFont typeface="+mj-lt"/>
              <a:buAutoNum type="arabicPeriod"/>
              <a:defRPr/>
            </a:pPr>
            <a:r>
              <a:rPr lang="en-US" sz="1400" dirty="0"/>
              <a:t>If server reboot is required, are there  any manual steps required to start the application? Please specify the resources( including e-mail and mobile number) that can run those steps post change deployment or provide detailed instructions what need to be done.</a:t>
            </a:r>
            <a:endParaRPr lang="en-US" sz="1400" dirty="0">
              <a:cs typeface="Segoe UI"/>
            </a:endParaRPr>
          </a:p>
          <a:p>
            <a:pPr marL="342900" indent="-342900">
              <a:buFontTx/>
              <a:buAutoNum type="arabicPeriod"/>
              <a:defRPr/>
            </a:pPr>
            <a:endParaRPr lang="en-US" sz="1400" dirty="0"/>
          </a:p>
          <a:p>
            <a:pPr marL="342900" indent="-342900">
              <a:buFontTx/>
              <a:buAutoNum type="arabicPeriod"/>
              <a:defRPr/>
            </a:pPr>
            <a:r>
              <a:rPr lang="en-US" sz="1400" dirty="0"/>
              <a:t>Once applications (services) are reestablished are there any tests required to be executed to confirm availability?</a:t>
            </a:r>
          </a:p>
          <a:p>
            <a:pPr marL="342900" marR="0" lvl="0" indent="-34290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n-US" sz="1400" dirty="0">
              <a:solidFill>
                <a:srgbClr val="595959"/>
              </a:solidFill>
              <a:latin typeface="Segoe UI"/>
              <a:cs typeface="Segoe UI"/>
            </a:endParaRPr>
          </a:p>
          <a:p>
            <a:pPr marL="342900" indent="-342900">
              <a:buFontTx/>
              <a:buAutoNum type="arabicPeriod"/>
              <a:defRPr/>
            </a:pPr>
            <a:r>
              <a:rPr lang="en-US" sz="1400" dirty="0">
                <a:solidFill>
                  <a:srgbClr val="595959"/>
                </a:solidFill>
                <a:latin typeface="Segoe UI"/>
                <a:cs typeface="Segoe UI"/>
              </a:rPr>
              <a:t>Is there any Testing team member who can validate App workability after deployment? </a:t>
            </a:r>
            <a:endParaRPr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cs typeface="Segoe UI"/>
            </a:endParaRPr>
          </a:p>
          <a:p>
            <a:pPr>
              <a:defRPr/>
            </a:pPr>
            <a:endParaRPr lang="en-AU" sz="1400" dirty="0">
              <a:solidFill>
                <a:srgbClr val="000000"/>
              </a:solidFill>
              <a:latin typeface="Graphik"/>
            </a:endParaRPr>
          </a:p>
          <a:p>
            <a:pPr>
              <a:defRPr/>
            </a:pPr>
            <a:endParaRPr lang="en-AU" sz="1400" dirty="0">
              <a:solidFill>
                <a:srgbClr val="000000"/>
              </a:solidFill>
              <a:latin typeface="Graphik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CD3B68D-2AD4-1336-24E2-364922DE6371}"/>
              </a:ext>
            </a:extLst>
          </p:cNvPr>
          <p:cNvSpPr txBox="1"/>
          <p:nvPr/>
        </p:nvSpPr>
        <p:spPr>
          <a:xfrm>
            <a:off x="507986" y="1158325"/>
            <a:ext cx="5344662" cy="569386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lang="en-AU" sz="1400" dirty="0"/>
              <a:t>     Questions to Server Owners:</a:t>
            </a:r>
          </a:p>
          <a:p>
            <a:pPr marL="342900" marR="0" lvl="0" indent="-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n-AU" sz="1400" dirty="0"/>
          </a:p>
          <a:p>
            <a:pPr marL="342900" marR="0" lvl="0" indent="-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400" dirty="0"/>
              <a:t>What is your preferred deployment dates and time/</a:t>
            </a:r>
            <a:r>
              <a:rPr lang="en-US" sz="1400" dirty="0" err="1"/>
              <a:t>timezone</a:t>
            </a:r>
            <a:r>
              <a:rPr lang="en-US" sz="1400" dirty="0"/>
              <a:t>?</a:t>
            </a: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siness days (business hours)</a:t>
            </a: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siness days (outside business hours)</a:t>
            </a: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lang="en-US" sz="1400" dirty="0"/>
              <a:t>Weekends</a:t>
            </a:r>
            <a:endParaRPr lang="en-US" sz="1400" dirty="0">
              <a:cs typeface="Segoe UI"/>
            </a:endParaRPr>
          </a:p>
          <a:p>
            <a:pPr lvl="1">
              <a:defRPr/>
            </a:pPr>
            <a:endParaRPr lang="en-US" sz="1400" dirty="0"/>
          </a:p>
          <a:p>
            <a:pPr lvl="1">
              <a:defRPr/>
            </a:pPr>
            <a:endParaRPr lang="en-US" sz="1400" dirty="0">
              <a:cs typeface="Segoe UI"/>
            </a:endParaRPr>
          </a:p>
          <a:p>
            <a:pPr marL="342900" indent="-342900">
              <a:buAutoNum type="arabicPeriod"/>
              <a:defRPr/>
            </a:pPr>
            <a:r>
              <a:rPr lang="en-US" sz="1400" dirty="0">
                <a:ea typeface="+mn-lt"/>
                <a:cs typeface="+mn-lt"/>
              </a:rPr>
              <a:t>Is Application server accessing CIFS(for accessing file shares on Unix/Linux) and sending Authentication package NTLM?</a:t>
            </a:r>
          </a:p>
          <a:p>
            <a:pPr marL="342900" indent="-342900">
              <a:buAutoNum type="arabicPeriod"/>
              <a:defRPr/>
            </a:pPr>
            <a:endParaRPr lang="en-US" sz="1400" dirty="0">
              <a:ea typeface="+mn-lt"/>
              <a:cs typeface="+mn-lt"/>
            </a:endParaRPr>
          </a:p>
          <a:p>
            <a:pPr marL="342900" indent="-342900">
              <a:buFontTx/>
              <a:buAutoNum type="arabicPeriod"/>
              <a:defRPr/>
            </a:pPr>
            <a:endParaRPr lang="en-US" sz="1400" dirty="0">
              <a:latin typeface="Segoe UI"/>
              <a:cs typeface="Segoe UI"/>
            </a:endParaRPr>
          </a:p>
          <a:p>
            <a:pPr marL="342900" indent="-342900">
              <a:buFontTx/>
              <a:buAutoNum type="arabicPeriod"/>
              <a:defRPr/>
            </a:pPr>
            <a:r>
              <a:rPr lang="en-US" sz="1400" dirty="0">
                <a:latin typeface="Segoe UI"/>
                <a:cs typeface="Segoe UI"/>
              </a:rPr>
              <a:t>Do you have any specific Sign Off criteria, which should be considered after deployment?</a:t>
            </a:r>
          </a:p>
          <a:p>
            <a:pPr marL="342900" indent="-342900">
              <a:buFontTx/>
              <a:buAutoNum type="arabicPeriod"/>
              <a:defRPr/>
            </a:pPr>
            <a:endParaRPr lang="en-US" sz="1400" dirty="0">
              <a:solidFill>
                <a:srgbClr val="595959"/>
              </a:solidFill>
              <a:latin typeface="Segoe UI"/>
              <a:cs typeface="Segoe UI"/>
            </a:endParaRPr>
          </a:p>
          <a:p>
            <a:pPr marL="342900" indent="-342900">
              <a:buFontTx/>
              <a:buAutoNum type="arabicPeriod"/>
              <a:defRPr/>
            </a:pPr>
            <a:r>
              <a:rPr lang="en-US" sz="1400" dirty="0">
                <a:solidFill>
                  <a:srgbClr val="595959"/>
                </a:solidFill>
                <a:latin typeface="Segoe UI"/>
                <a:cs typeface="Segoe UI"/>
              </a:rPr>
              <a:t>What is typical hyper care period for this change?</a:t>
            </a:r>
          </a:p>
          <a:p>
            <a:pPr marL="742950" lvl="1" indent="-285750">
              <a:buFont typeface="Arial"/>
              <a:buChar char="•"/>
              <a:defRPr/>
            </a:pPr>
            <a:endParaRPr lang="en-US" sz="1400" dirty="0">
              <a:solidFill>
                <a:srgbClr val="595959"/>
              </a:solidFill>
              <a:latin typeface="Segoe UI"/>
              <a:cs typeface="Segoe UI"/>
            </a:endParaRPr>
          </a:p>
          <a:p>
            <a:pPr marL="342900" indent="-342900">
              <a:buAutoNum type="arabicPeriod"/>
              <a:defRPr/>
            </a:pPr>
            <a:endParaRPr lang="en-US" sz="1400" kern="1200" dirty="0">
              <a:solidFill>
                <a:srgbClr val="595959"/>
              </a:solidFill>
              <a:latin typeface="Segoe UI"/>
              <a:cs typeface="Segoe UI"/>
            </a:endParaRPr>
          </a:p>
          <a:p>
            <a:pPr marL="342900" indent="-342900">
              <a:buAutoNum type="arabicPeriod"/>
              <a:defRPr/>
            </a:pPr>
            <a:endParaRPr lang="en-US" sz="1400" kern="1200" dirty="0">
              <a:solidFill>
                <a:srgbClr val="595959"/>
              </a:solidFill>
              <a:latin typeface="Segoe UI"/>
              <a:cs typeface="Segoe UI"/>
            </a:endParaRPr>
          </a:p>
          <a:p>
            <a: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AutoNum type="arabicPeriod"/>
              <a:tabLst/>
              <a:defRPr/>
            </a:pPr>
            <a:endParaRPr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cs typeface="Segoe UI"/>
            </a:endParaRPr>
          </a:p>
          <a:p>
            <a:pPr marL="342900" indent="-342900">
              <a:buAutoNum type="arabicPeriod" startAt="2"/>
              <a:defRPr/>
            </a:pPr>
            <a:endParaRPr lang="en-US" sz="1400" dirty="0">
              <a:solidFill>
                <a:srgbClr val="000000"/>
              </a:solidFill>
              <a:latin typeface="Graphik"/>
              <a:cs typeface="Segoe UI"/>
            </a:endParaRPr>
          </a:p>
          <a:p>
            <a:pPr lvl="1">
              <a:defRPr/>
            </a:pPr>
            <a:endParaRPr lang="en-US" sz="1400" dirty="0">
              <a:solidFill>
                <a:srgbClr val="595959"/>
              </a:solidFill>
              <a:latin typeface="Segoe UI"/>
              <a:cs typeface="Segoe UI"/>
            </a:endParaRP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srgbClr val="595959"/>
              </a:solidFill>
              <a:latin typeface="Segoe UI"/>
              <a:cs typeface="Segoe UI"/>
            </a:endParaRPr>
          </a:p>
          <a:p>
            <a:pPr>
              <a:defRPr/>
            </a:pPr>
            <a:endParaRPr lang="en-AU" sz="1400" dirty="0">
              <a:solidFill>
                <a:srgbClr val="000000"/>
              </a:solidFill>
              <a:latin typeface="Graphik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9397330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frizKYGKcpgVVI28ve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Unrestricted">
  <a:themeElements>
    <a:clrScheme name="Avanade FY17">
      <a:dk1>
        <a:srgbClr val="595959"/>
      </a:dk1>
      <a:lt1>
        <a:sysClr val="window" lastClr="FFFFFF"/>
      </a:lt1>
      <a:dk2>
        <a:srgbClr val="FF5800"/>
      </a:dk2>
      <a:lt2>
        <a:srgbClr val="E7E6E6"/>
      </a:lt2>
      <a:accent1>
        <a:srgbClr val="FF5800"/>
      </a:accent1>
      <a:accent2>
        <a:srgbClr val="CE056A"/>
      </a:accent2>
      <a:accent3>
        <a:srgbClr val="C80000"/>
      </a:accent3>
      <a:accent4>
        <a:srgbClr val="FFB414"/>
      </a:accent4>
      <a:accent5>
        <a:srgbClr val="47800A"/>
      </a:accent5>
      <a:accent6>
        <a:srgbClr val="008376"/>
      </a:accent6>
      <a:hlink>
        <a:srgbClr val="FF5800"/>
      </a:hlink>
      <a:folHlink>
        <a:srgbClr val="890078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hoto Cover PPT Template_2019" id="{F40E4053-D93C-8B4C-ABB0-355E77D9BF60}" vid="{7BE3C35A-BAB7-344E-84DB-4161C59859C6}"/>
    </a:ext>
  </a:extLst>
</a:theme>
</file>

<file path=ppt/theme/theme2.xml><?xml version="1.0" encoding="utf-8"?>
<a:theme xmlns:a="http://schemas.openxmlformats.org/drawingml/2006/main" name="1_Office Theme">
  <a:themeElements>
    <a:clrScheme name="CBA+Accenture purple">
      <a:dk1>
        <a:srgbClr val="000000"/>
      </a:dk1>
      <a:lt1>
        <a:srgbClr val="FFFFFF"/>
      </a:lt1>
      <a:dk2>
        <a:srgbClr val="595959"/>
      </a:dk2>
      <a:lt2>
        <a:srgbClr val="BEBEBE"/>
      </a:lt2>
      <a:accent1>
        <a:srgbClr val="FF9500"/>
      </a:accent1>
      <a:accent2>
        <a:srgbClr val="FFC100"/>
      </a:accent2>
      <a:accent3>
        <a:srgbClr val="FFD93A"/>
      </a:accent3>
      <a:accent4>
        <a:srgbClr val="A100FF"/>
      </a:accent4>
      <a:accent5>
        <a:srgbClr val="7500C0"/>
      </a:accent5>
      <a:accent6>
        <a:srgbClr val="460073"/>
      </a:accent6>
      <a:hlink>
        <a:srgbClr val="FFB600"/>
      </a:hlink>
      <a:folHlink>
        <a:srgbClr val="FFB600"/>
      </a:folHlink>
    </a:clrScheme>
    <a:fontScheme name="Accenture Graphik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4.xml><?xml version="1.0" encoding="utf-8"?>
<a:theme xmlns:a="http://schemas.openxmlformats.org/drawingml/2006/main" name="43_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5.xml><?xml version="1.0" encoding="utf-8"?>
<a:theme xmlns:a="http://schemas.openxmlformats.org/drawingml/2006/main" name="42_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6.xml><?xml version="1.0" encoding="utf-8"?>
<a:theme xmlns:a="http://schemas.openxmlformats.org/drawingml/2006/main" name="1_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1E2B39043C7E40952DF1086CF29555" ma:contentTypeVersion="2" ma:contentTypeDescription="Create a new document." ma:contentTypeScope="" ma:versionID="91638fd2cef831b1a2274e6e0264d240">
  <xsd:schema xmlns:xsd="http://www.w3.org/2001/XMLSchema" xmlns:xs="http://www.w3.org/2001/XMLSchema" xmlns:p="http://schemas.microsoft.com/office/2006/metadata/properties" xmlns:ns2="a0a1764d-9f19-445a-8b95-79336f5e3332" targetNamespace="http://schemas.microsoft.com/office/2006/metadata/properties" ma:root="true" ma:fieldsID="bdd2b82fdbb59bc8cc1edb58933ecc59" ns2:_="">
    <xsd:import namespace="a0a1764d-9f19-445a-8b95-79336f5e33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a1764d-9f19-445a-8b95-79336f5e33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09AD9A0-EC54-4235-8300-AB86EB6073B0}">
  <ds:schemaRefs>
    <ds:schemaRef ds:uri="http://purl.org/dc/elements/1.1/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a0a1764d-9f19-445a-8b95-79336f5e3332"/>
    <ds:schemaRef ds:uri="http://purl.org/dc/terms/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AC471978-E0A0-4DB3-9E26-0E57D67B28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0a1764d-9f19-445a-8b95-79336f5e333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E922E14-3AC6-4802-BA1C-164C9B4ABAC0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fae8262-b78e-4366-8929-a5d6aac95320}" enabled="1" method="Standard" siteId="{cf36141c-ddd7-45a7-b073-111f66d0b30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64</Words>
  <Application>Microsoft Office PowerPoint</Application>
  <PresentationFormat>Widescreen</PresentationFormat>
  <Paragraphs>172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25" baseType="lpstr">
      <vt:lpstr>Arial</vt:lpstr>
      <vt:lpstr>Calibri</vt:lpstr>
      <vt:lpstr>Graphik</vt:lpstr>
      <vt:lpstr>Graphik Black</vt:lpstr>
      <vt:lpstr>Graphik Light</vt:lpstr>
      <vt:lpstr>Graphik Semibold</vt:lpstr>
      <vt:lpstr>Graphik-SemiboldItalic</vt:lpstr>
      <vt:lpstr>GT Sectra Fine Rg</vt:lpstr>
      <vt:lpstr>Segoe UI</vt:lpstr>
      <vt:lpstr>Segoe UI Light</vt:lpstr>
      <vt:lpstr>Segoe UI Semibold</vt:lpstr>
      <vt:lpstr>Segoe UI Semilight</vt:lpstr>
      <vt:lpstr>System Font</vt:lpstr>
      <vt:lpstr>Titillium Web</vt:lpstr>
      <vt:lpstr>1_Unrestricted</vt:lpstr>
      <vt:lpstr>1_Office Theme</vt:lpstr>
      <vt:lpstr>Hybrid Windows</vt:lpstr>
      <vt:lpstr>43_Hybrid Windows</vt:lpstr>
      <vt:lpstr>42_Hybrid Windows</vt:lpstr>
      <vt:lpstr>1_Hybrid Windows</vt:lpstr>
      <vt:lpstr>think-cell Slide</vt:lpstr>
      <vt:lpstr>Vulnerability I4.3 NTLM v2 - Overview</vt:lpstr>
      <vt:lpstr>Vulnerability I4.3 NTLM v2 – Remediation Plan</vt:lpstr>
      <vt:lpstr>Vulnerability I4.3 NTLM v2 – Deployment Plan</vt:lpstr>
      <vt:lpstr>Vulnerability I4.3 NTLM v2 - Questions 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/>
  <cp:keywords/>
  <dc:description/>
  <cp:revision>58</cp:revision>
  <dcterms:created xsi:type="dcterms:W3CDTF">2022-08-10T00:38:11Z</dcterms:created>
  <dcterms:modified xsi:type="dcterms:W3CDTF">2022-09-04T23:31:5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1E2B39043C7E40952DF1086CF29555</vt:lpwstr>
  </property>
</Properties>
</file>